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ink/ink1.xml" ContentType="application/inkml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46"/>
  </p:notesMasterIdLst>
  <p:handoutMasterIdLst>
    <p:handoutMasterId r:id="rId47"/>
  </p:handoutMasterIdLst>
  <p:sldIdLst>
    <p:sldId id="321" r:id="rId4"/>
    <p:sldId id="330" r:id="rId5"/>
    <p:sldId id="331" r:id="rId6"/>
    <p:sldId id="332" r:id="rId7"/>
    <p:sldId id="350" r:id="rId8"/>
    <p:sldId id="356" r:id="rId9"/>
    <p:sldId id="333" r:id="rId10"/>
    <p:sldId id="345" r:id="rId11"/>
    <p:sldId id="334" r:id="rId12"/>
    <p:sldId id="335" r:id="rId13"/>
    <p:sldId id="348" r:id="rId14"/>
    <p:sldId id="336" r:id="rId15"/>
    <p:sldId id="339" r:id="rId16"/>
    <p:sldId id="263" r:id="rId17"/>
    <p:sldId id="347" r:id="rId18"/>
    <p:sldId id="346" r:id="rId19"/>
    <p:sldId id="338" r:id="rId20"/>
    <p:sldId id="355" r:id="rId21"/>
    <p:sldId id="337" r:id="rId22"/>
    <p:sldId id="349" r:id="rId23"/>
    <p:sldId id="340" r:id="rId24"/>
    <p:sldId id="352" r:id="rId25"/>
    <p:sldId id="351" r:id="rId26"/>
    <p:sldId id="341" r:id="rId27"/>
    <p:sldId id="342" r:id="rId28"/>
    <p:sldId id="358" r:id="rId29"/>
    <p:sldId id="354" r:id="rId30"/>
    <p:sldId id="343" r:id="rId31"/>
    <p:sldId id="344" r:id="rId32"/>
    <p:sldId id="269" r:id="rId33"/>
    <p:sldId id="270" r:id="rId34"/>
    <p:sldId id="359" r:id="rId35"/>
    <p:sldId id="272" r:id="rId36"/>
    <p:sldId id="273" r:id="rId37"/>
    <p:sldId id="360" r:id="rId38"/>
    <p:sldId id="274" r:id="rId39"/>
    <p:sldId id="275" r:id="rId40"/>
    <p:sldId id="276" r:id="rId41"/>
    <p:sldId id="277" r:id="rId42"/>
    <p:sldId id="278" r:id="rId43"/>
    <p:sldId id="279" r:id="rId44"/>
    <p:sldId id="361" r:id="rId45"/>
  </p:sldIdLst>
  <p:sldSz cx="12192000" cy="6858000"/>
  <p:notesSz cx="6858000" cy="9144000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331"/>
            <p14:sldId id="332"/>
            <p14:sldId id="350"/>
            <p14:sldId id="356"/>
            <p14:sldId id="333"/>
            <p14:sldId id="345"/>
            <p14:sldId id="334"/>
            <p14:sldId id="335"/>
            <p14:sldId id="348"/>
            <p14:sldId id="336"/>
            <p14:sldId id="339"/>
            <p14:sldId id="263"/>
            <p14:sldId id="347"/>
            <p14:sldId id="346"/>
            <p14:sldId id="338"/>
            <p14:sldId id="355"/>
            <p14:sldId id="337"/>
            <p14:sldId id="349"/>
            <p14:sldId id="340"/>
            <p14:sldId id="352"/>
            <p14:sldId id="351"/>
            <p14:sldId id="341"/>
            <p14:sldId id="342"/>
            <p14:sldId id="358"/>
            <p14:sldId id="354"/>
            <p14:sldId id="343"/>
            <p14:sldId id="344"/>
            <p14:sldId id="269"/>
            <p14:sldId id="270"/>
            <p14:sldId id="359"/>
            <p14:sldId id="272"/>
            <p14:sldId id="273"/>
            <p14:sldId id="360"/>
            <p14:sldId id="274"/>
            <p14:sldId id="275"/>
            <p14:sldId id="276"/>
            <p14:sldId id="277"/>
            <p14:sldId id="278"/>
            <p14:sldId id="279"/>
            <p14:sldId id="361"/>
          </p14:sldIdLst>
        </p14:section>
        <p14:section name="How-to guides" id="{940A1398-85E1-49ED-8D6E-5B86E8378269}">
          <p14:sldIdLst/>
        </p14:section>
        <p14:section name="Style guide" id="{469652BB-A032-4484-908B-5AD5FE899E09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hiem Bui Duc" initials="KB" lastIdx="1" clrIdx="0">
    <p:extLst>
      <p:ext uri="{19B8F6BF-5375-455C-9EA6-DF929625EA0E}">
        <p15:presenceInfo xmlns:p15="http://schemas.microsoft.com/office/powerpoint/2012/main" userId="4f8b804368b7ff5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72819" autoAdjust="0"/>
  </p:normalViewPr>
  <p:slideViewPr>
    <p:cSldViewPr snapToGrid="0" snapToObjects="1" showGuides="1">
      <p:cViewPr varScale="1">
        <p:scale>
          <a:sx n="62" d="100"/>
          <a:sy n="62" d="100"/>
        </p:scale>
        <p:origin x="1488" y="53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handoutMaster" Target="handoutMasters/handoutMaster1.xml"/><Relationship Id="rId50" Type="http://schemas.openxmlformats.org/officeDocument/2006/relationships/presProps" Target="presProps.xml"/><Relationship Id="rId7" Type="http://schemas.openxmlformats.org/officeDocument/2006/relationships/slide" Target="slides/slide4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tags" Target="tags/tag1.xml"/><Relationship Id="rId8" Type="http://schemas.openxmlformats.org/officeDocument/2006/relationships/slide" Target="slides/slide5.xml"/><Relationship Id="rId51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13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8-08T06:33:55.635"/>
    </inkml:context>
    <inkml:brush xml:id="br0">
      <inkml:brushProperty name="width" value="0.035" units="cm"/>
      <inkml:brushProperty name="height" value="0.035" units="cm"/>
      <inkml:brushProperty name="ignorePressure" value="1"/>
    </inkml:brush>
  </inkml:definitions>
  <inkml:trace contextRef="#ctx0" brushRef="#br0">1 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13.08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0" name="Google Shape;250;g344eaf56fbf_0_4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96930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elect File/Folder which recent actio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tionRece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older/file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CLARE @userID INT =1 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ELECT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,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,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.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tionLog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,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DateTi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tionRecen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EFT 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EFT JOIN Folder f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old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RDER BY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DateTi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431904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elect stared file/folder of login us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794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UserFile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Own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t.FileTypeNa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voriteObjec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.Object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 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.Objec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Own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Typ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t.FileType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.Own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98534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elect file/folder were deleted by login us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SELECT file have been deleted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704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Trash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ObjectType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UserFile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RemovedDateti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IsPermanent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sh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bject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Object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Object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;</a:t>
            </a: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SELECT folder have been deleted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Trash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ObjectType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RemovedDateti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IsPermanent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sh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bject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Object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Object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;</a:t>
            </a:r>
          </a:p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541047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en-US" dirty="0"/>
              <a:t>Select </a:t>
            </a:r>
            <a:r>
              <a:rPr lang="en-US" dirty="0" err="1"/>
              <a:t>GoogleDrive’s</a:t>
            </a:r>
            <a:r>
              <a:rPr lang="en-US" dirty="0"/>
              <a:t> Products</a:t>
            </a:r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en-US" dirty="0"/>
              <a:t>Select Product of login User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1 .SELECT all of product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du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duct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s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uration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ductItem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SELECT Product bought by user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00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Produ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Product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S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IsPerce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 T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Co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- (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Co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* (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Discou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/ 100)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S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Co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-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Discoun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talCost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Produc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motio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.Promotion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Promotion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ductIte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ro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.Produc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Product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3 . SELECT Top 10 Payers 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TOP 10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Product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S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IsPerce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 T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Co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* (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Discou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/ 100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S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Co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-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Discoun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talCost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Produc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ductIte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ro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.Produc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Product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motio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.Promotion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Promotion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talCos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C</a:t>
            </a:r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357349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banned user of login-user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533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.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ned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ned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ner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nedBy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.BannedAt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ned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U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Banned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ned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Banner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.Banned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ner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.BannedA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C;</a:t>
            </a:r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2846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Google Shape;299;g344eaf56fbf_2_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0" name="Google Shape;300;g344eaf56fbf_2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5103870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36f56cd1dea_1_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5" name="Google Shape;305;g36f56cd1dea_1_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6" name="Google Shape;306;g36f56cd1dea_1_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859200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vi-VN" dirty="0"/>
              <a:t>-- </a:t>
            </a:r>
            <a:r>
              <a:rPr lang="vi-VN" dirty="0" err="1"/>
              <a:t>Input</a:t>
            </a:r>
            <a:r>
              <a:rPr lang="vi-VN" dirty="0"/>
              <a:t>: </a:t>
            </a:r>
            <a:r>
              <a:rPr lang="vi-VN" dirty="0" err="1"/>
              <a:t>UserId</a:t>
            </a:r>
            <a:r>
              <a:rPr lang="vi-VN" dirty="0"/>
              <a:t> và </a:t>
            </a:r>
            <a:r>
              <a:rPr lang="vi-VN" dirty="0" err="1"/>
              <a:t>FolderId</a:t>
            </a:r>
            <a:endParaRPr lang="vi-VN" dirty="0"/>
          </a:p>
          <a:p>
            <a:r>
              <a:rPr lang="vi-VN" dirty="0"/>
              <a:t>DECLARE @UserId INT = 1;  -- ID của </a:t>
            </a:r>
            <a:r>
              <a:rPr lang="vi-VN" dirty="0" err="1"/>
              <a:t>user</a:t>
            </a:r>
            <a:endParaRPr lang="vi-VN" dirty="0"/>
          </a:p>
          <a:p>
            <a:r>
              <a:rPr lang="vi-VN" dirty="0"/>
              <a:t>DECLARE @FolderId INT = 5;  -- ID của </a:t>
            </a:r>
            <a:r>
              <a:rPr lang="vi-VN" dirty="0" err="1"/>
              <a:t>folder</a:t>
            </a:r>
            <a:r>
              <a:rPr lang="vi-VN" dirty="0"/>
              <a:t> cần kiểm tra</a:t>
            </a:r>
          </a:p>
          <a:p>
            <a:endParaRPr lang="vi-VN" dirty="0"/>
          </a:p>
          <a:p>
            <a:r>
              <a:rPr lang="vi-VN" dirty="0"/>
              <a:t>-- Lấy tất cả </a:t>
            </a:r>
            <a:r>
              <a:rPr lang="vi-VN" dirty="0" err="1"/>
              <a:t>sub-folder</a:t>
            </a:r>
            <a:r>
              <a:rPr lang="vi-VN" dirty="0"/>
              <a:t> và </a:t>
            </a:r>
            <a:r>
              <a:rPr lang="vi-VN" dirty="0" err="1"/>
              <a:t>file</a:t>
            </a:r>
            <a:r>
              <a:rPr lang="vi-VN" dirty="0"/>
              <a:t> trong </a:t>
            </a:r>
            <a:r>
              <a:rPr lang="vi-VN" dirty="0" err="1"/>
              <a:t>folder</a:t>
            </a:r>
            <a:endParaRPr lang="vi-VN" dirty="0"/>
          </a:p>
          <a:p>
            <a:r>
              <a:rPr lang="vi-VN" dirty="0"/>
              <a:t>SELECT </a:t>
            </a:r>
          </a:p>
          <a:p>
            <a:r>
              <a:rPr lang="vi-VN" dirty="0"/>
              <a:t>    '</a:t>
            </a:r>
            <a:r>
              <a:rPr lang="vi-VN" dirty="0" err="1"/>
              <a:t>Folder</a:t>
            </a:r>
            <a:r>
              <a:rPr lang="vi-VN" dirty="0"/>
              <a:t>' AS </a:t>
            </a:r>
            <a:r>
              <a:rPr lang="vi-VN" dirty="0" err="1"/>
              <a:t>ItemType</a:t>
            </a:r>
            <a:r>
              <a:rPr lang="vi-VN" dirty="0"/>
              <a:t>,</a:t>
            </a:r>
          </a:p>
          <a:p>
            <a:r>
              <a:rPr lang="vi-VN" dirty="0"/>
              <a:t>    </a:t>
            </a:r>
            <a:r>
              <a:rPr lang="vi-VN" dirty="0" err="1"/>
              <a:t>f.FolderId</a:t>
            </a:r>
            <a:r>
              <a:rPr lang="vi-VN" dirty="0"/>
              <a:t> AS </a:t>
            </a:r>
            <a:r>
              <a:rPr lang="vi-VN" dirty="0" err="1"/>
              <a:t>ItemId</a:t>
            </a:r>
            <a:r>
              <a:rPr lang="vi-VN" dirty="0"/>
              <a:t>,</a:t>
            </a:r>
          </a:p>
          <a:p>
            <a:r>
              <a:rPr lang="vi-VN" dirty="0"/>
              <a:t>    </a:t>
            </a:r>
            <a:r>
              <a:rPr lang="vi-VN" dirty="0" err="1"/>
              <a:t>f.FolderName</a:t>
            </a:r>
            <a:r>
              <a:rPr lang="vi-VN" dirty="0"/>
              <a:t> AS </a:t>
            </a:r>
            <a:r>
              <a:rPr lang="vi-VN" dirty="0" err="1"/>
              <a:t>ItemName</a:t>
            </a:r>
            <a:r>
              <a:rPr lang="vi-VN" dirty="0"/>
              <a:t>,</a:t>
            </a:r>
          </a:p>
          <a:p>
            <a:r>
              <a:rPr lang="vi-VN" dirty="0"/>
              <a:t>    CASE </a:t>
            </a:r>
          </a:p>
          <a:p>
            <a:r>
              <a:rPr lang="vi-VN" dirty="0"/>
              <a:t>        WHEN </a:t>
            </a:r>
            <a:r>
              <a:rPr lang="vi-VN" dirty="0" err="1"/>
              <a:t>f.OwnerId</a:t>
            </a:r>
            <a:r>
              <a:rPr lang="vi-VN" dirty="0"/>
              <a:t> = @UserId THEN '</a:t>
            </a:r>
            <a:r>
              <a:rPr lang="vi-VN" dirty="0" err="1"/>
              <a:t>Owner</a:t>
            </a:r>
            <a:r>
              <a:rPr lang="vi-VN" dirty="0"/>
              <a:t>'</a:t>
            </a:r>
          </a:p>
          <a:p>
            <a:r>
              <a:rPr lang="vi-VN" dirty="0"/>
              <a:t>        ELSE COALESCE(</a:t>
            </a:r>
          </a:p>
          <a:p>
            <a:r>
              <a:rPr lang="vi-VN" dirty="0"/>
              <a:t>            (SELECT TOP 1 </a:t>
            </a:r>
            <a:r>
              <a:rPr lang="vi-VN" dirty="0" err="1"/>
              <a:t>p.PermissionName</a:t>
            </a:r>
            <a:r>
              <a:rPr lang="vi-VN" dirty="0"/>
              <a:t> </a:t>
            </a:r>
          </a:p>
          <a:p>
            <a:r>
              <a:rPr lang="vi-VN" dirty="0"/>
              <a:t>             FROM </a:t>
            </a:r>
            <a:r>
              <a:rPr lang="vi-VN" dirty="0" err="1"/>
              <a:t>Share</a:t>
            </a:r>
            <a:r>
              <a:rPr lang="vi-VN" dirty="0"/>
              <a:t> s</a:t>
            </a:r>
          </a:p>
          <a:p>
            <a:r>
              <a:rPr lang="vi-VN" dirty="0"/>
              <a:t>             JOIN </a:t>
            </a:r>
            <a:r>
              <a:rPr lang="vi-VN" dirty="0" err="1"/>
              <a:t>SharedUser</a:t>
            </a:r>
            <a:r>
              <a:rPr lang="vi-VN" dirty="0"/>
              <a:t> su ON </a:t>
            </a:r>
            <a:r>
              <a:rPr lang="vi-VN" dirty="0" err="1"/>
              <a:t>s.ShareId</a:t>
            </a:r>
            <a:r>
              <a:rPr lang="vi-VN" dirty="0"/>
              <a:t> = </a:t>
            </a:r>
            <a:r>
              <a:rPr lang="vi-VN" dirty="0" err="1"/>
              <a:t>su.ShareId</a:t>
            </a:r>
            <a:endParaRPr lang="vi-VN" dirty="0"/>
          </a:p>
          <a:p>
            <a:r>
              <a:rPr lang="vi-VN" dirty="0"/>
              <a:t>             JOIN </a:t>
            </a:r>
            <a:r>
              <a:rPr lang="vi-VN" dirty="0" err="1"/>
              <a:t>Permission</a:t>
            </a:r>
            <a:r>
              <a:rPr lang="vi-VN" dirty="0"/>
              <a:t> p ON </a:t>
            </a:r>
            <a:r>
              <a:rPr lang="vi-VN" dirty="0" err="1"/>
              <a:t>su.PermissionId</a:t>
            </a:r>
            <a:r>
              <a:rPr lang="vi-VN" dirty="0"/>
              <a:t> = </a:t>
            </a:r>
            <a:r>
              <a:rPr lang="vi-VN" dirty="0" err="1"/>
              <a:t>p.PermissionId</a:t>
            </a:r>
            <a:endParaRPr lang="vi-VN" dirty="0"/>
          </a:p>
          <a:p>
            <a:r>
              <a:rPr lang="vi-VN" dirty="0"/>
              <a:t>             WHERE </a:t>
            </a:r>
            <a:r>
              <a:rPr lang="vi-VN" dirty="0" err="1"/>
              <a:t>s.ObjectId</a:t>
            </a:r>
            <a:r>
              <a:rPr lang="vi-VN" dirty="0"/>
              <a:t> = </a:t>
            </a:r>
            <a:r>
              <a:rPr lang="vi-VN" dirty="0" err="1"/>
              <a:t>f.FolderId</a:t>
            </a:r>
            <a:r>
              <a:rPr lang="vi-VN" dirty="0"/>
              <a:t> AND </a:t>
            </a:r>
            <a:r>
              <a:rPr lang="vi-VN" dirty="0" err="1"/>
              <a:t>s.ObjectTypeId</a:t>
            </a:r>
            <a:r>
              <a:rPr lang="vi-VN" dirty="0"/>
              <a:t> = 1  -- 1 là </a:t>
            </a:r>
            <a:r>
              <a:rPr lang="vi-VN" dirty="0" err="1"/>
              <a:t>Folder</a:t>
            </a:r>
            <a:endParaRPr lang="vi-VN" dirty="0"/>
          </a:p>
          <a:p>
            <a:r>
              <a:rPr lang="vi-VN" dirty="0"/>
              <a:t>             AND </a:t>
            </a:r>
            <a:r>
              <a:rPr lang="vi-VN" dirty="0" err="1"/>
              <a:t>su.UserId</a:t>
            </a:r>
            <a:r>
              <a:rPr lang="vi-VN" dirty="0"/>
              <a:t> = @UserId),</a:t>
            </a:r>
          </a:p>
          <a:p>
            <a:r>
              <a:rPr lang="vi-VN" dirty="0"/>
              <a:t>            'No </a:t>
            </a:r>
            <a:r>
              <a:rPr lang="vi-VN" dirty="0" err="1"/>
              <a:t>Permission</a:t>
            </a:r>
            <a:r>
              <a:rPr lang="vi-VN" dirty="0"/>
              <a:t>'</a:t>
            </a:r>
          </a:p>
          <a:p>
            <a:r>
              <a:rPr lang="vi-VN" dirty="0"/>
              <a:t>        ) </a:t>
            </a:r>
          </a:p>
          <a:p>
            <a:r>
              <a:rPr lang="vi-VN" dirty="0"/>
              <a:t>    END AS </a:t>
            </a:r>
            <a:r>
              <a:rPr lang="vi-VN" dirty="0" err="1"/>
              <a:t>Permission</a:t>
            </a:r>
            <a:endParaRPr lang="vi-VN" dirty="0"/>
          </a:p>
          <a:p>
            <a:r>
              <a:rPr lang="vi-VN" dirty="0"/>
              <a:t>FROM </a:t>
            </a:r>
            <a:r>
              <a:rPr lang="vi-VN" dirty="0" err="1"/>
              <a:t>Folder</a:t>
            </a:r>
            <a:r>
              <a:rPr lang="vi-VN" dirty="0"/>
              <a:t> f</a:t>
            </a:r>
          </a:p>
          <a:p>
            <a:r>
              <a:rPr lang="vi-VN" dirty="0"/>
              <a:t>WHERE </a:t>
            </a:r>
            <a:r>
              <a:rPr lang="vi-VN" dirty="0" err="1"/>
              <a:t>f.ParentId</a:t>
            </a:r>
            <a:r>
              <a:rPr lang="vi-VN" dirty="0"/>
              <a:t> = @FolderId</a:t>
            </a:r>
          </a:p>
          <a:p>
            <a:endParaRPr lang="vi-VN" dirty="0"/>
          </a:p>
          <a:p>
            <a:r>
              <a:rPr lang="vi-VN" dirty="0"/>
              <a:t>UNION ALL</a:t>
            </a:r>
          </a:p>
          <a:p>
            <a:endParaRPr lang="vi-VN" dirty="0"/>
          </a:p>
          <a:p>
            <a:r>
              <a:rPr lang="vi-VN" dirty="0"/>
              <a:t>SELECT </a:t>
            </a:r>
          </a:p>
          <a:p>
            <a:r>
              <a:rPr lang="vi-VN" dirty="0"/>
              <a:t>    '</a:t>
            </a:r>
            <a:r>
              <a:rPr lang="vi-VN" dirty="0" err="1"/>
              <a:t>File</a:t>
            </a:r>
            <a:r>
              <a:rPr lang="vi-VN" dirty="0"/>
              <a:t>' AS </a:t>
            </a:r>
            <a:r>
              <a:rPr lang="vi-VN" dirty="0" err="1"/>
              <a:t>ItemType</a:t>
            </a:r>
            <a:r>
              <a:rPr lang="vi-VN" dirty="0"/>
              <a:t>,</a:t>
            </a:r>
          </a:p>
          <a:p>
            <a:r>
              <a:rPr lang="vi-VN" dirty="0"/>
              <a:t>    </a:t>
            </a:r>
            <a:r>
              <a:rPr lang="vi-VN" dirty="0" err="1"/>
              <a:t>uf.FileId</a:t>
            </a:r>
            <a:r>
              <a:rPr lang="vi-VN" dirty="0"/>
              <a:t> AS </a:t>
            </a:r>
            <a:r>
              <a:rPr lang="vi-VN" dirty="0" err="1"/>
              <a:t>ItemId</a:t>
            </a:r>
            <a:r>
              <a:rPr lang="vi-VN" dirty="0"/>
              <a:t>,</a:t>
            </a:r>
          </a:p>
          <a:p>
            <a:r>
              <a:rPr lang="vi-VN" dirty="0"/>
              <a:t>    </a:t>
            </a:r>
            <a:r>
              <a:rPr lang="vi-VN" dirty="0" err="1"/>
              <a:t>uf.UserFileName</a:t>
            </a:r>
            <a:r>
              <a:rPr lang="vi-VN" dirty="0"/>
              <a:t> AS </a:t>
            </a:r>
            <a:r>
              <a:rPr lang="vi-VN" dirty="0" err="1"/>
              <a:t>ItemName</a:t>
            </a:r>
            <a:r>
              <a:rPr lang="vi-VN" dirty="0"/>
              <a:t>,</a:t>
            </a:r>
          </a:p>
          <a:p>
            <a:r>
              <a:rPr lang="vi-VN" dirty="0"/>
              <a:t>    CASE </a:t>
            </a:r>
          </a:p>
          <a:p>
            <a:r>
              <a:rPr lang="vi-VN" dirty="0"/>
              <a:t>        WHEN </a:t>
            </a:r>
            <a:r>
              <a:rPr lang="vi-VN" dirty="0" err="1"/>
              <a:t>uf.OwnerId</a:t>
            </a:r>
            <a:r>
              <a:rPr lang="vi-VN" dirty="0"/>
              <a:t> = @UserId THEN '</a:t>
            </a:r>
            <a:r>
              <a:rPr lang="vi-VN" dirty="0" err="1"/>
              <a:t>Owner</a:t>
            </a:r>
            <a:r>
              <a:rPr lang="vi-VN" dirty="0"/>
              <a:t>'</a:t>
            </a:r>
          </a:p>
          <a:p>
            <a:r>
              <a:rPr lang="vi-VN" dirty="0"/>
              <a:t>        ELSE COALESCE(</a:t>
            </a:r>
          </a:p>
          <a:p>
            <a:r>
              <a:rPr lang="vi-VN" dirty="0"/>
              <a:t>            (SELECT TOP 1 </a:t>
            </a:r>
            <a:r>
              <a:rPr lang="vi-VN" dirty="0" err="1"/>
              <a:t>p.PermissionName</a:t>
            </a:r>
            <a:r>
              <a:rPr lang="vi-VN" dirty="0"/>
              <a:t> </a:t>
            </a:r>
          </a:p>
          <a:p>
            <a:r>
              <a:rPr lang="vi-VN" dirty="0"/>
              <a:t>             FROM </a:t>
            </a:r>
            <a:r>
              <a:rPr lang="vi-VN" dirty="0" err="1"/>
              <a:t>Share</a:t>
            </a:r>
            <a:r>
              <a:rPr lang="vi-VN" dirty="0"/>
              <a:t> s</a:t>
            </a:r>
          </a:p>
          <a:p>
            <a:r>
              <a:rPr lang="vi-VN" dirty="0"/>
              <a:t>             JOIN </a:t>
            </a:r>
            <a:r>
              <a:rPr lang="vi-VN" dirty="0" err="1"/>
              <a:t>SharedUser</a:t>
            </a:r>
            <a:r>
              <a:rPr lang="vi-VN" dirty="0"/>
              <a:t> su ON </a:t>
            </a:r>
            <a:r>
              <a:rPr lang="vi-VN" dirty="0" err="1"/>
              <a:t>s.ShareId</a:t>
            </a:r>
            <a:r>
              <a:rPr lang="vi-VN" dirty="0"/>
              <a:t> = </a:t>
            </a:r>
            <a:r>
              <a:rPr lang="vi-VN" dirty="0" err="1"/>
              <a:t>su.ShareId</a:t>
            </a:r>
            <a:endParaRPr lang="vi-VN" dirty="0"/>
          </a:p>
          <a:p>
            <a:r>
              <a:rPr lang="vi-VN" dirty="0"/>
              <a:t>             JOIN </a:t>
            </a:r>
            <a:r>
              <a:rPr lang="vi-VN" dirty="0" err="1"/>
              <a:t>Permission</a:t>
            </a:r>
            <a:r>
              <a:rPr lang="vi-VN" dirty="0"/>
              <a:t> p ON </a:t>
            </a:r>
            <a:r>
              <a:rPr lang="vi-VN" dirty="0" err="1"/>
              <a:t>su.PermissionId</a:t>
            </a:r>
            <a:r>
              <a:rPr lang="vi-VN" dirty="0"/>
              <a:t> = </a:t>
            </a:r>
            <a:r>
              <a:rPr lang="vi-VN" dirty="0" err="1"/>
              <a:t>p.PermissionId</a:t>
            </a:r>
            <a:endParaRPr lang="vi-VN" dirty="0"/>
          </a:p>
          <a:p>
            <a:r>
              <a:rPr lang="vi-VN" dirty="0"/>
              <a:t>             WHERE </a:t>
            </a:r>
            <a:r>
              <a:rPr lang="vi-VN" dirty="0" err="1"/>
              <a:t>s.ObjectId</a:t>
            </a:r>
            <a:r>
              <a:rPr lang="vi-VN" dirty="0"/>
              <a:t> = </a:t>
            </a:r>
            <a:r>
              <a:rPr lang="vi-VN" dirty="0" err="1"/>
              <a:t>uf.FileId</a:t>
            </a:r>
            <a:r>
              <a:rPr lang="vi-VN" dirty="0"/>
              <a:t> AND </a:t>
            </a:r>
            <a:r>
              <a:rPr lang="vi-VN" dirty="0" err="1"/>
              <a:t>s.ObjectTypeId</a:t>
            </a:r>
            <a:r>
              <a:rPr lang="vi-VN" dirty="0"/>
              <a:t> = 2  -- 2 là </a:t>
            </a:r>
            <a:r>
              <a:rPr lang="vi-VN" dirty="0" err="1"/>
              <a:t>File</a:t>
            </a:r>
            <a:endParaRPr lang="vi-VN" dirty="0"/>
          </a:p>
          <a:p>
            <a:r>
              <a:rPr lang="vi-VN" dirty="0"/>
              <a:t>             AND </a:t>
            </a:r>
            <a:r>
              <a:rPr lang="vi-VN" dirty="0" err="1"/>
              <a:t>su.UserId</a:t>
            </a:r>
            <a:r>
              <a:rPr lang="vi-VN" dirty="0"/>
              <a:t> = @UserId),</a:t>
            </a:r>
          </a:p>
          <a:p>
            <a:r>
              <a:rPr lang="vi-VN" dirty="0"/>
              <a:t>            'No </a:t>
            </a:r>
            <a:r>
              <a:rPr lang="vi-VN" dirty="0" err="1"/>
              <a:t>Permission</a:t>
            </a:r>
            <a:r>
              <a:rPr lang="vi-VN" dirty="0"/>
              <a:t>'</a:t>
            </a:r>
          </a:p>
          <a:p>
            <a:r>
              <a:rPr lang="vi-VN" dirty="0"/>
              <a:t>        ) </a:t>
            </a:r>
          </a:p>
          <a:p>
            <a:r>
              <a:rPr lang="vi-VN" dirty="0"/>
              <a:t>    END AS </a:t>
            </a:r>
            <a:r>
              <a:rPr lang="vi-VN" dirty="0" err="1"/>
              <a:t>Permission</a:t>
            </a:r>
            <a:endParaRPr lang="vi-VN" dirty="0"/>
          </a:p>
          <a:p>
            <a:r>
              <a:rPr lang="vi-VN" dirty="0"/>
              <a:t>FROM </a:t>
            </a:r>
            <a:r>
              <a:rPr lang="vi-VN" dirty="0" err="1"/>
              <a:t>UserFile</a:t>
            </a:r>
            <a:r>
              <a:rPr lang="vi-VN" dirty="0"/>
              <a:t> </a:t>
            </a:r>
            <a:r>
              <a:rPr lang="vi-VN" dirty="0" err="1"/>
              <a:t>uf</a:t>
            </a:r>
            <a:endParaRPr lang="vi-VN" dirty="0"/>
          </a:p>
          <a:p>
            <a:r>
              <a:rPr lang="vi-VN" dirty="0"/>
              <a:t>WHERE </a:t>
            </a:r>
            <a:r>
              <a:rPr lang="vi-VN" dirty="0" err="1"/>
              <a:t>uf.FolderId</a:t>
            </a:r>
            <a:r>
              <a:rPr lang="vi-VN" dirty="0"/>
              <a:t> = @FolderId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43907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1" name="Google Shape;32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154957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lang="en-US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28" name="Google Shape;32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001192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lang="en-US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28" name="Google Shape;32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001192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Google Shape;333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4" name="Google Shape;334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3411959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Google Shape;338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9" name="Google Shape;339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9525450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Google Shape;34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5" name="Google Shape;345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3487035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g36f56cd1dea_0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53" name="Google Shape;353;g36f56cd1dea_0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4" name="Google Shape;354;g36f56cd1dea_0_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18344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Google Shape;361;g36f56cd1dea_0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2" name="Google Shape;362;g36f56cd1dea_0_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3" name="Google Shape;363;g36f56cd1dea_0_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3281034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g36f56cd1dea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0" name="Google Shape;370;g36f56cd1dea_0_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71" name="Google Shape;371;g36f56cd1dea_0_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2035276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ull-tex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arch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query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UserFile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Term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TermFrequency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TermPositions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archIndex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</a:t>
            </a:r>
          </a:p>
          <a:p>
            <a:r>
              <a:rPr lang="fr-FR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fr-FR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Content</a:t>
            </a:r>
            <a:r>
              <a:rPr lang="fr-FR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c</a:t>
            </a:r>
            <a:r>
              <a:rPr lang="fr-FR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fr-FR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FileContentId</a:t>
            </a:r>
            <a:r>
              <a:rPr lang="fr-FR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fr-FR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c.ContentId</a:t>
            </a:r>
            <a:endParaRPr lang="fr-FR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c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File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Ter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('project', 'proposal', 'employ')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s.Bm25Score</a:t>
            </a:r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039973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357190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i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oginUser INT = 1 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UserFileNa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Own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LoginUser</a:t>
            </a: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i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Na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Own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410470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COMMENT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3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TOP 10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Log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DateTi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tionRecen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 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DateTi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C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COMMENT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TOP 10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UserFile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Log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DateTi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tionRecen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DateTi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C</a:t>
            </a:r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61705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elect User Information</a:t>
            </a:r>
          </a:p>
          <a:p>
            <a:endParaRPr lang="en-US" dirty="0"/>
          </a:p>
          <a:p>
            <a:r>
              <a:rPr lang="en-US" dirty="0"/>
              <a:t>Declare @userId int = 1</a:t>
            </a:r>
          </a:p>
          <a:p>
            <a:r>
              <a:rPr lang="en-US" dirty="0"/>
              <a:t> select </a:t>
            </a:r>
          </a:p>
          <a:p>
            <a:r>
              <a:rPr lang="en-US" dirty="0"/>
              <a:t>	</a:t>
            </a:r>
            <a:r>
              <a:rPr lang="en-US" dirty="0" err="1"/>
              <a:t>a.UserName</a:t>
            </a:r>
            <a:r>
              <a:rPr lang="en-US" dirty="0"/>
              <a:t> as </a:t>
            </a:r>
            <a:r>
              <a:rPr lang="en-US" dirty="0" err="1"/>
              <a:t>UserName</a:t>
            </a:r>
            <a:r>
              <a:rPr lang="en-US" dirty="0"/>
              <a:t>,</a:t>
            </a:r>
          </a:p>
          <a:p>
            <a:r>
              <a:rPr lang="en-US" dirty="0"/>
              <a:t>	</a:t>
            </a:r>
            <a:r>
              <a:rPr lang="en-US" dirty="0" err="1"/>
              <a:t>a.Email</a:t>
            </a:r>
            <a:r>
              <a:rPr lang="en-US" dirty="0"/>
              <a:t> as Email</a:t>
            </a:r>
          </a:p>
          <a:p>
            <a:r>
              <a:rPr lang="en-US" dirty="0"/>
              <a:t> from Account a</a:t>
            </a:r>
          </a:p>
          <a:p>
            <a:r>
              <a:rPr lang="en-US" dirty="0"/>
              <a:t> where </a:t>
            </a:r>
            <a:r>
              <a:rPr lang="en-US" dirty="0" err="1"/>
              <a:t>a.UserId</a:t>
            </a:r>
            <a:r>
              <a:rPr lang="en-US" dirty="0"/>
              <a:t> =@userId </a:t>
            </a:r>
          </a:p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8845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elect Login User Setting </a:t>
            </a:r>
          </a:p>
          <a:p>
            <a:endParaRPr lang="en-US" dirty="0"/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;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etting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ettingKey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ettingValu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tting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u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pSetti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etting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etting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926660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File/Folder. Which have been shared to Login User</a:t>
            </a:r>
          </a:p>
          <a:p>
            <a:r>
              <a:rPr lang="en-US" dirty="0"/>
              <a:t>Sort by </a:t>
            </a:r>
            <a:r>
              <a:rPr lang="en-US" dirty="0" err="1"/>
              <a:t>FileType</a:t>
            </a:r>
            <a:endParaRPr lang="en-US" dirty="0"/>
          </a:p>
          <a:p>
            <a:r>
              <a:rPr lang="en-US" dirty="0"/>
              <a:t>Sort by Owner</a:t>
            </a:r>
          </a:p>
          <a:p>
            <a:r>
              <a:rPr lang="en-US" dirty="0"/>
              <a:t>Sort by Action Recent</a:t>
            </a:r>
          </a:p>
          <a:p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r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m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reen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SELECT shared file with login user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02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UserFileNa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red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u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hare s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har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har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SELECT shared folder with login user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01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Na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red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u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hare s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har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har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ELECT folder shared for user with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01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01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.Permission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Na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red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u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hared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hare s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har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har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missio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Permission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.Permission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ELECT file shared for user with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02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02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.Permission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UserFileNa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red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u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hared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hare s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har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har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missio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Permission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.Permission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endParaRPr lang="en-US" dirty="0"/>
          </a:p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229377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1_Agenda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54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7" name="Google Shape;27;p5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5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849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1_Title Slid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5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3" name="Google Shape;23;p5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5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50588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06" imgH="306" progId="TCLayout.ActiveDocument.1">
                  <p:embed/>
                </p:oleObj>
              </mc:Choice>
              <mc:Fallback>
                <p:oleObj name="think-cell Slide" r:id="rId30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  <p:sldLayoutId id="2147483710" r:id="rId26"/>
    <p:sldLayoutId id="2147483711" r:id="rId27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43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4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4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80.png"/><Relationship Id="rId4" Type="http://schemas.openxmlformats.org/officeDocument/2006/relationships/customXml" Target="../ink/ink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83EE307-C082-A4D1-35E2-B05C737953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ting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890A111-932F-BAF6-14DA-33CE968BDA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4843" y="1198683"/>
            <a:ext cx="10141975" cy="5070988"/>
          </a:xfrm>
          <a:prstGeom prst="rect">
            <a:avLst/>
          </a:prstGeom>
        </p:spPr>
      </p:pic>
      <p:sp>
        <p:nvSpPr>
          <p:cNvPr id="7" name="Frame 6">
            <a:extLst>
              <a:ext uri="{FF2B5EF4-FFF2-40B4-BE49-F238E27FC236}">
                <a16:creationId xmlns:a16="http://schemas.microsoft.com/office/drawing/2014/main" id="{46E49583-7245-E16A-3EFD-C5B60AC0E89C}"/>
              </a:ext>
            </a:extLst>
          </p:cNvPr>
          <p:cNvSpPr/>
          <p:nvPr/>
        </p:nvSpPr>
        <p:spPr>
          <a:xfrm>
            <a:off x="2563140" y="2406404"/>
            <a:ext cx="973393" cy="255638"/>
          </a:xfrm>
          <a:prstGeom prst="fram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8" name="Frame 7">
            <a:extLst>
              <a:ext uri="{FF2B5EF4-FFF2-40B4-BE49-F238E27FC236}">
                <a16:creationId xmlns:a16="http://schemas.microsoft.com/office/drawing/2014/main" id="{02DCDBEB-3C70-4F38-94C9-B50EFE2BB8E5}"/>
              </a:ext>
            </a:extLst>
          </p:cNvPr>
          <p:cNvSpPr/>
          <p:nvPr/>
        </p:nvSpPr>
        <p:spPr>
          <a:xfrm>
            <a:off x="2541329" y="2913163"/>
            <a:ext cx="973393" cy="255638"/>
          </a:xfrm>
          <a:prstGeom prst="fram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389ACC0-391E-9A2B-4C6A-0B42F714765E}"/>
              </a:ext>
            </a:extLst>
          </p:cNvPr>
          <p:cNvSpPr/>
          <p:nvPr/>
        </p:nvSpPr>
        <p:spPr>
          <a:xfrm>
            <a:off x="346588" y="2389238"/>
            <a:ext cx="1681316" cy="41834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Settingkey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983EB01-1ECD-B396-2C19-F5ED780A990F}"/>
              </a:ext>
            </a:extLst>
          </p:cNvPr>
          <p:cNvSpPr/>
          <p:nvPr/>
        </p:nvSpPr>
        <p:spPr>
          <a:xfrm>
            <a:off x="294348" y="3278681"/>
            <a:ext cx="1681316" cy="418345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Settingvalue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94259152-523B-8717-E7FB-9C3911520B9F}"/>
              </a:ext>
            </a:extLst>
          </p:cNvPr>
          <p:cNvCxnSpPr/>
          <p:nvPr/>
        </p:nvCxnSpPr>
        <p:spPr>
          <a:xfrm flipV="1">
            <a:off x="2098257" y="2459933"/>
            <a:ext cx="364414" cy="27530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C3947D8-B1F5-1A47-3775-2948B912F81D}"/>
              </a:ext>
            </a:extLst>
          </p:cNvPr>
          <p:cNvCxnSpPr/>
          <p:nvPr/>
        </p:nvCxnSpPr>
        <p:spPr>
          <a:xfrm flipV="1">
            <a:off x="2098257" y="3040982"/>
            <a:ext cx="364414" cy="556514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FB9A4BA-65AA-D0C8-1920-8452A761B0E7}"/>
              </a:ext>
            </a:extLst>
          </p:cNvPr>
          <p:cNvCxnSpPr>
            <a:cxnSpLocks/>
          </p:cNvCxnSpPr>
          <p:nvPr/>
        </p:nvCxnSpPr>
        <p:spPr>
          <a:xfrm>
            <a:off x="2408903" y="1011116"/>
            <a:ext cx="0" cy="541549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F51530E-2DD9-CEAE-5D9E-3253945BD987}"/>
              </a:ext>
            </a:extLst>
          </p:cNvPr>
          <p:cNvCxnSpPr>
            <a:cxnSpLocks/>
          </p:cNvCxnSpPr>
          <p:nvPr/>
        </p:nvCxnSpPr>
        <p:spPr>
          <a:xfrm>
            <a:off x="2408903" y="1011116"/>
            <a:ext cx="468768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35A4643-5BAD-4052-CA9B-8C96AE8FD7EF}"/>
              </a:ext>
            </a:extLst>
          </p:cNvPr>
          <p:cNvCxnSpPr>
            <a:cxnSpLocks/>
          </p:cNvCxnSpPr>
          <p:nvPr/>
        </p:nvCxnSpPr>
        <p:spPr>
          <a:xfrm>
            <a:off x="7096586" y="1011116"/>
            <a:ext cx="0" cy="5415494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52E85EF-E692-A03C-8564-EA277E4C9FC5}"/>
              </a:ext>
            </a:extLst>
          </p:cNvPr>
          <p:cNvCxnSpPr>
            <a:cxnSpLocks/>
          </p:cNvCxnSpPr>
          <p:nvPr/>
        </p:nvCxnSpPr>
        <p:spPr>
          <a:xfrm flipV="1">
            <a:off x="2408903" y="6426610"/>
            <a:ext cx="4687683" cy="15978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4EE6933F-2E54-1CEE-008F-E4EFC8B79EA4}"/>
              </a:ext>
            </a:extLst>
          </p:cNvPr>
          <p:cNvSpPr/>
          <p:nvPr/>
        </p:nvSpPr>
        <p:spPr>
          <a:xfrm>
            <a:off x="8059182" y="3136609"/>
            <a:ext cx="2637693" cy="460887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etting of login Account 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8DF44D4-026B-0070-90E8-6597A464A9DC}"/>
              </a:ext>
            </a:extLst>
          </p:cNvPr>
          <p:cNvCxnSpPr>
            <a:cxnSpLocks/>
          </p:cNvCxnSpPr>
          <p:nvPr/>
        </p:nvCxnSpPr>
        <p:spPr>
          <a:xfrm flipH="1" flipV="1">
            <a:off x="7150353" y="2913163"/>
            <a:ext cx="807398" cy="515837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4258788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082A036-BDD0-53E6-E9C7-3A5C289C03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tructure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E8B6031-3FFD-1741-4633-CC01938DEB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3765" y="1010092"/>
            <a:ext cx="9719999" cy="5547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128711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A3CFC91-9DE0-2252-A67C-5907CC7B3F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ting Sample Data</a:t>
            </a:r>
            <a:endParaRPr lang="vi-VN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86CC2CF-E30F-ED2F-A04C-0E97BE3864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4576" y="1059214"/>
            <a:ext cx="8342847" cy="5636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13365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F8A7767-AAE9-1A93-E592-493B51745D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re for login user 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E61CDC5-D12B-4F11-E8E7-4986A488FE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923" y="904569"/>
            <a:ext cx="10018154" cy="550774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C8A563E-6DA3-4E25-2D3A-577A05E9EBD6}"/>
              </a:ext>
            </a:extLst>
          </p:cNvPr>
          <p:cNvSpPr/>
          <p:nvPr/>
        </p:nvSpPr>
        <p:spPr>
          <a:xfrm>
            <a:off x="4724400" y="2136530"/>
            <a:ext cx="2368062" cy="345831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ort by </a:t>
            </a:r>
            <a:r>
              <a:rPr lang="en-US" dirty="0" err="1">
                <a:solidFill>
                  <a:schemeClr val="bg1"/>
                </a:solidFill>
              </a:rPr>
              <a:t>ActionRecent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81EF22B-5F08-12F7-A06F-9750961DE344}"/>
              </a:ext>
            </a:extLst>
          </p:cNvPr>
          <p:cNvSpPr/>
          <p:nvPr/>
        </p:nvSpPr>
        <p:spPr>
          <a:xfrm>
            <a:off x="5099537" y="1211261"/>
            <a:ext cx="1664677" cy="345831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ort by Owner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AE48F2-EFED-B109-134E-7E9AB3C56014}"/>
              </a:ext>
            </a:extLst>
          </p:cNvPr>
          <p:cNvSpPr/>
          <p:nvPr/>
        </p:nvSpPr>
        <p:spPr>
          <a:xfrm>
            <a:off x="2296753" y="2819233"/>
            <a:ext cx="1988031" cy="293077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ort by Filetype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83AB5A6-3A08-E7CD-4A0A-36991A8259FD}"/>
              </a:ext>
            </a:extLst>
          </p:cNvPr>
          <p:cNvCxnSpPr>
            <a:cxnSpLocks/>
          </p:cNvCxnSpPr>
          <p:nvPr/>
        </p:nvCxnSpPr>
        <p:spPr>
          <a:xfrm flipV="1">
            <a:off x="2965622" y="1833632"/>
            <a:ext cx="0" cy="848346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3487CB4-187A-86E3-0B68-709A6DC07B66}"/>
              </a:ext>
            </a:extLst>
          </p:cNvPr>
          <p:cNvCxnSpPr/>
          <p:nvPr/>
        </p:nvCxnSpPr>
        <p:spPr>
          <a:xfrm flipH="1">
            <a:off x="3470031" y="1211261"/>
            <a:ext cx="1629506" cy="44169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65A5C93-65CC-5EAA-8247-12CE91C63CEF}"/>
              </a:ext>
            </a:extLst>
          </p:cNvPr>
          <p:cNvCxnSpPr/>
          <p:nvPr/>
        </p:nvCxnSpPr>
        <p:spPr>
          <a:xfrm flipH="1" flipV="1">
            <a:off x="4384431" y="1899138"/>
            <a:ext cx="339969" cy="410307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5425884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Google Shape;252;g344eaf56fbf_0_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hare</a:t>
            </a:r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5BFDC76-B99A-5F71-E2CA-BD5552A4E5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1069" y="916683"/>
            <a:ext cx="9903388" cy="580750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06A0F14-3BFB-6931-CB78-28D32791B072}"/>
              </a:ext>
            </a:extLst>
          </p:cNvPr>
          <p:cNvSpPr/>
          <p:nvPr/>
        </p:nvSpPr>
        <p:spPr>
          <a:xfrm>
            <a:off x="8106937" y="2430966"/>
            <a:ext cx="836341" cy="412595"/>
          </a:xfrm>
          <a:prstGeom prst="rect">
            <a:avLst/>
          </a:prstGeom>
          <a:solidFill>
            <a:srgbClr val="33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hare 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795BBAF-2388-5B54-BFCB-7F5CBB7BCBC6}"/>
              </a:ext>
            </a:extLst>
          </p:cNvPr>
          <p:cNvSpPr/>
          <p:nvPr/>
        </p:nvSpPr>
        <p:spPr>
          <a:xfrm>
            <a:off x="8028879" y="4014439"/>
            <a:ext cx="1349298" cy="412595"/>
          </a:xfrm>
          <a:prstGeom prst="rect">
            <a:avLst/>
          </a:prstGeom>
          <a:solidFill>
            <a:srgbClr val="33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Permission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A3A0278-3DC7-4C9A-8AC5-1D0B0CFE0CFF}"/>
              </a:ext>
            </a:extLst>
          </p:cNvPr>
          <p:cNvCxnSpPr>
            <a:stCxn id="5" idx="1"/>
          </p:cNvCxnSpPr>
          <p:nvPr/>
        </p:nvCxnSpPr>
        <p:spPr>
          <a:xfrm flipH="1">
            <a:off x="7304049" y="4220737"/>
            <a:ext cx="724830" cy="1589048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2362333-DAC4-EC58-6F9F-B764BF4EB66C}"/>
              </a:ext>
            </a:extLst>
          </p:cNvPr>
          <p:cNvCxnSpPr/>
          <p:nvPr/>
        </p:nvCxnSpPr>
        <p:spPr>
          <a:xfrm flipH="1">
            <a:off x="5965902" y="2732049"/>
            <a:ext cx="2141035" cy="613317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A9B798A-05A9-35BC-C734-6894F1F26C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tructure</a:t>
            </a:r>
            <a:endParaRPr lang="vi-V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6749929-80D9-E092-B5B4-4697365883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2263" y="907881"/>
            <a:ext cx="9167473" cy="5950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73220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61097A2-34BA-4D2D-7C6E-1438E4C961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Share</a:t>
            </a:r>
            <a:endParaRPr lang="vi-VN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49C0C5-8F3C-A940-8408-62BF018146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3600" y="933325"/>
            <a:ext cx="8704800" cy="580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1783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E0F8ADB-540E-D5F5-24A7-7DDAF10B39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ction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C622598-B8B4-55AD-7AD5-5AE3D354F5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0000" y="1098000"/>
            <a:ext cx="10151999" cy="5007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880101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E7B5CF3-1218-505F-5466-E99209ABC4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</a:t>
            </a:r>
            <a:r>
              <a:rPr lang="en-US" dirty="0" err="1"/>
              <a:t>ActionRecent</a:t>
            </a:r>
            <a:endParaRPr lang="vi-V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DB2B7ED-0732-D7D5-8C63-33E23FE40B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2824" y="2052333"/>
            <a:ext cx="9186351" cy="275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935910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1EF7AE5-B2E0-8F0C-0F54-54ED52C3DA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avoriteObject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7882475-5F2B-98B7-DBC8-5E58D6464A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876" y="1100899"/>
            <a:ext cx="10282247" cy="4925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899616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bv Software Services AG  |  </a:t>
            </a:r>
            <a:r>
              <a:rPr lang="en-CH" dirty="0"/>
              <a:t>Dat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Ypp 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A337B39-8BF4-DAA4-B5C3-8DAB9D3CF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</a:t>
            </a:r>
            <a:r>
              <a:rPr lang="en-US" dirty="0" err="1"/>
              <a:t>FavoriteObject</a:t>
            </a:r>
            <a:endParaRPr lang="vi-VN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A6D1F22-8AD6-6F12-FBB6-71D084EC7C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4536" y="1371576"/>
            <a:ext cx="8462927" cy="4114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588424"/>
      </p:ext>
    </p:extLst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D569F5-F752-78D2-7DEA-647D756EF5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sh 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4B80471-BF24-9F80-8C2E-65EB1150A2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8089" y="976713"/>
            <a:ext cx="10410091" cy="551746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AB9DD77-5621-D63C-A2EA-7A9606972D82}"/>
              </a:ext>
            </a:extLst>
          </p:cNvPr>
          <p:cNvSpPr/>
          <p:nvPr/>
        </p:nvSpPr>
        <p:spPr>
          <a:xfrm>
            <a:off x="6343135" y="4168241"/>
            <a:ext cx="3493478" cy="750277"/>
          </a:xfrm>
          <a:prstGeom prst="rect">
            <a:avLst/>
          </a:prstGeom>
          <a:solidFill>
            <a:srgbClr val="33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lect file/folder were deleted by login user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5A91F52B-1CA3-0377-477A-32A7B398E3B6}"/>
              </a:ext>
            </a:extLst>
          </p:cNvPr>
          <p:cNvCxnSpPr>
            <a:cxnSpLocks/>
          </p:cNvCxnSpPr>
          <p:nvPr/>
        </p:nvCxnSpPr>
        <p:spPr>
          <a:xfrm flipH="1" flipV="1">
            <a:off x="6670431" y="2754923"/>
            <a:ext cx="1262607" cy="1413318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2828397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FCB56E2-CF3A-3EC2-9556-571C06AFF2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tructure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1478974-9A8D-BAF6-E0FF-B1EBAE9701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5601" y="1098000"/>
            <a:ext cx="10440798" cy="5569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022136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BA8DD7E-EBBA-249F-C361-4A450B2BB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Trash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024413E-6733-CCD3-277E-531FFA4499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9561" y="2001643"/>
            <a:ext cx="8712878" cy="2854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960143"/>
      </p:ext>
    </p:extLst>
  </p:cSld>
  <p:clrMapOvr>
    <a:masterClrMapping/>
  </p:clrMapOvr>
  <p:transition spd="slow">
    <p:push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66E50C7-1161-3FE9-1286-E09BD3F03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Capacity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03B50E-18B4-ACB4-60AE-5014CEA352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6000" y="1008186"/>
            <a:ext cx="9720000" cy="550057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BF0F04B-3C17-AB5C-220F-7835489917C2}"/>
              </a:ext>
            </a:extLst>
          </p:cNvPr>
          <p:cNvSpPr/>
          <p:nvPr/>
        </p:nvSpPr>
        <p:spPr>
          <a:xfrm>
            <a:off x="3855922" y="4314176"/>
            <a:ext cx="2872154" cy="527539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Select login User capacity and </a:t>
            </a:r>
            <a:r>
              <a:rPr lang="en-US" dirty="0" err="1"/>
              <a:t>UsedCapacity</a:t>
            </a:r>
            <a:endParaRPr lang="en-US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583529E-B3CF-858C-E6E4-E42401DDD9AE}"/>
              </a:ext>
            </a:extLst>
          </p:cNvPr>
          <p:cNvCxnSpPr>
            <a:cxnSpLocks/>
          </p:cNvCxnSpPr>
          <p:nvPr/>
        </p:nvCxnSpPr>
        <p:spPr>
          <a:xfrm flipH="1" flipV="1">
            <a:off x="3744097" y="2397211"/>
            <a:ext cx="1161535" cy="1916965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rame 9">
            <a:extLst>
              <a:ext uri="{FF2B5EF4-FFF2-40B4-BE49-F238E27FC236}">
                <a16:creationId xmlns:a16="http://schemas.microsoft.com/office/drawing/2014/main" id="{1EE8E7C4-ED16-3993-9424-2E3E87B804FB}"/>
              </a:ext>
            </a:extLst>
          </p:cNvPr>
          <p:cNvSpPr/>
          <p:nvPr/>
        </p:nvSpPr>
        <p:spPr>
          <a:xfrm>
            <a:off x="2631688" y="3133493"/>
            <a:ext cx="8324312" cy="568712"/>
          </a:xfrm>
          <a:prstGeom prst="fram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148C124-B2BB-10A9-AFA1-CEE8986820D1}"/>
              </a:ext>
            </a:extLst>
          </p:cNvPr>
          <p:cNvSpPr/>
          <p:nvPr/>
        </p:nvSpPr>
        <p:spPr>
          <a:xfrm>
            <a:off x="7683190" y="1628078"/>
            <a:ext cx="2096430" cy="478108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Get list file by size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F18AC4D-E79E-0F13-3A7D-D48DFB7F21B5}"/>
              </a:ext>
            </a:extLst>
          </p:cNvPr>
          <p:cNvCxnSpPr/>
          <p:nvPr/>
        </p:nvCxnSpPr>
        <p:spPr>
          <a:xfrm flipH="1">
            <a:off x="7817005" y="2121877"/>
            <a:ext cx="579863" cy="911255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865374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F4EFB4F-60D6-1105-F0B3-82C38B4EC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UserProduct</a:t>
            </a:r>
            <a:endParaRPr lang="vi-VN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4FF209-A2E8-A3D6-D643-B938C6FDB8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6003" y="1048591"/>
            <a:ext cx="8950825" cy="562051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277DA68-BF8B-BBC6-5694-8E2057F818A1}"/>
              </a:ext>
            </a:extLst>
          </p:cNvPr>
          <p:cNvSpPr/>
          <p:nvPr/>
        </p:nvSpPr>
        <p:spPr>
          <a:xfrm>
            <a:off x="2353817" y="1671973"/>
            <a:ext cx="7662672" cy="4924124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30B2C51-D745-2658-ED99-7843062B9B0C}"/>
              </a:ext>
            </a:extLst>
          </p:cNvPr>
          <p:cNvSpPr/>
          <p:nvPr/>
        </p:nvSpPr>
        <p:spPr>
          <a:xfrm>
            <a:off x="4142232" y="1098000"/>
            <a:ext cx="4169664" cy="57397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51A0C8-C7DA-6EAF-7AD3-4C430ACA181C}"/>
              </a:ext>
            </a:extLst>
          </p:cNvPr>
          <p:cNvSpPr txBox="1"/>
          <p:nvPr/>
        </p:nvSpPr>
        <p:spPr>
          <a:xfrm>
            <a:off x="108164" y="3323051"/>
            <a:ext cx="2492814" cy="369332"/>
          </a:xfrm>
          <a:prstGeom prst="rect">
            <a:avLst/>
          </a:prstGeom>
          <a:solidFill>
            <a:srgbClr val="6697B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roduct Item nam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B975EEC-BA86-711F-E41E-8B9532ABB7DC}"/>
              </a:ext>
            </a:extLst>
          </p:cNvPr>
          <p:cNvSpPr txBox="1"/>
          <p:nvPr/>
        </p:nvSpPr>
        <p:spPr>
          <a:xfrm>
            <a:off x="8654796" y="1158169"/>
            <a:ext cx="3028078" cy="369332"/>
          </a:xfrm>
          <a:prstGeom prst="rect">
            <a:avLst/>
          </a:prstGeom>
          <a:solidFill>
            <a:srgbClr val="6697BF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elect Product of login Us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3E1BED0-13C0-9D22-DA08-624701A228EA}"/>
              </a:ext>
            </a:extLst>
          </p:cNvPr>
          <p:cNvSpPr txBox="1"/>
          <p:nvPr/>
        </p:nvSpPr>
        <p:spPr>
          <a:xfrm>
            <a:off x="350020" y="5811217"/>
            <a:ext cx="666750" cy="307777"/>
          </a:xfrm>
          <a:prstGeom prst="rect">
            <a:avLst/>
          </a:prstGeom>
          <a:solidFill>
            <a:srgbClr val="6697B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os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716FFF6-3682-FE93-D5D6-4591F579FAE7}"/>
              </a:ext>
            </a:extLst>
          </p:cNvPr>
          <p:cNvSpPr txBox="1"/>
          <p:nvPr/>
        </p:nvSpPr>
        <p:spPr>
          <a:xfrm>
            <a:off x="155777" y="4713130"/>
            <a:ext cx="1341643" cy="369332"/>
          </a:xfrm>
          <a:prstGeom prst="rect">
            <a:avLst/>
          </a:prstGeom>
          <a:solidFill>
            <a:srgbClr val="6697B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romotion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923B661-750B-58A8-D82C-45F55DDF7CD6}"/>
              </a:ext>
            </a:extLst>
          </p:cNvPr>
          <p:cNvCxnSpPr>
            <a:cxnSpLocks/>
          </p:cNvCxnSpPr>
          <p:nvPr/>
        </p:nvCxnSpPr>
        <p:spPr>
          <a:xfrm flipV="1">
            <a:off x="1643478" y="3429000"/>
            <a:ext cx="1568073" cy="139699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1FB10354-B828-F178-2897-084C9B3D6F54}"/>
              </a:ext>
            </a:extLst>
          </p:cNvPr>
          <p:cNvCxnSpPr>
            <a:cxnSpLocks/>
          </p:cNvCxnSpPr>
          <p:nvPr/>
        </p:nvCxnSpPr>
        <p:spPr>
          <a:xfrm flipV="1">
            <a:off x="1080806" y="4825993"/>
            <a:ext cx="2130745" cy="1139112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1FE7A7A-2395-DB12-6232-AE2DCFD22E10}"/>
              </a:ext>
            </a:extLst>
          </p:cNvPr>
          <p:cNvCxnSpPr>
            <a:cxnSpLocks/>
          </p:cNvCxnSpPr>
          <p:nvPr/>
        </p:nvCxnSpPr>
        <p:spPr>
          <a:xfrm flipV="1">
            <a:off x="2600978" y="2302304"/>
            <a:ext cx="1785671" cy="1191482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31047682-C7B7-C82D-4F49-966EB092DEEB}"/>
              </a:ext>
            </a:extLst>
          </p:cNvPr>
          <p:cNvCxnSpPr/>
          <p:nvPr/>
        </p:nvCxnSpPr>
        <p:spPr>
          <a:xfrm flipH="1">
            <a:off x="7025268" y="1465946"/>
            <a:ext cx="2330605" cy="631600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36A2D5B-4CD6-276D-2568-EA320AD277F3}"/>
              </a:ext>
            </a:extLst>
          </p:cNvPr>
          <p:cNvSpPr/>
          <p:nvPr/>
        </p:nvSpPr>
        <p:spPr>
          <a:xfrm>
            <a:off x="214358" y="2183939"/>
            <a:ext cx="2364058" cy="501805"/>
          </a:xfrm>
          <a:prstGeom prst="rect">
            <a:avLst/>
          </a:prstGeom>
          <a:solidFill>
            <a:srgbClr val="6697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Duration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A2068F64-1ECC-E23B-93A5-F19BBE113A19}"/>
              </a:ext>
            </a:extLst>
          </p:cNvPr>
          <p:cNvCxnSpPr>
            <a:cxnSpLocks/>
          </p:cNvCxnSpPr>
          <p:nvPr/>
        </p:nvCxnSpPr>
        <p:spPr>
          <a:xfrm flipV="1">
            <a:off x="2710941" y="1758367"/>
            <a:ext cx="2474224" cy="62368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9509343"/>
      </p:ext>
    </p:extLst>
  </p:cSld>
  <p:clrMapOvr>
    <a:masterClrMapping/>
  </p:clrMapOvr>
  <p:transition spd="slow">
    <p:push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DE3DDF-3267-09C0-76D6-7D3684787F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26CFFC-DAC8-624C-7010-150617181B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tructure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5A7C7CD-10D0-B9DC-6081-7444A1AB61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5601" y="1098000"/>
            <a:ext cx="10440798" cy="5569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391143"/>
      </p:ext>
    </p:extLst>
  </p:cSld>
  <p:clrMapOvr>
    <a:masterClrMapping/>
  </p:clrMapOvr>
  <p:transition spd="slow"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5ED0F5-7832-524E-6CB6-5D460DC17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Product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859E4-949D-60FC-62F6-813892C136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5318" y="1243583"/>
            <a:ext cx="8961364" cy="437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524914"/>
      </p:ext>
    </p:extLst>
  </p:cSld>
  <p:clrMapOvr>
    <a:masterClrMapping/>
  </p:clrMapOvr>
  <p:transition spd="slow">
    <p:push dir="u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79066C1-00EE-6081-87E5-02C276E44C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nned</a:t>
            </a:r>
            <a:endParaRPr lang="vi-VN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A8F3EAC-D68F-505D-586E-F82236B732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3756" y="947853"/>
            <a:ext cx="8424487" cy="578258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BE8A146-5090-FB62-ABEC-900CD8082E90}"/>
              </a:ext>
            </a:extLst>
          </p:cNvPr>
          <p:cNvSpPr txBox="1"/>
          <p:nvPr/>
        </p:nvSpPr>
        <p:spPr>
          <a:xfrm>
            <a:off x="2616152" y="2045853"/>
            <a:ext cx="2675847" cy="646331"/>
          </a:xfrm>
          <a:prstGeom prst="rect">
            <a:avLst/>
          </a:prstGeom>
          <a:solidFill>
            <a:srgbClr val="3374A9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elect User have been Banned by login user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2162C56-7C2F-E41A-CFF7-2F0636E10244}"/>
              </a:ext>
            </a:extLst>
          </p:cNvPr>
          <p:cNvCxnSpPr>
            <a:cxnSpLocks/>
          </p:cNvCxnSpPr>
          <p:nvPr/>
        </p:nvCxnSpPr>
        <p:spPr>
          <a:xfrm>
            <a:off x="4386649" y="2780270"/>
            <a:ext cx="832122" cy="2806491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6988255"/>
      </p:ext>
    </p:extLst>
  </p:cSld>
  <p:clrMapOvr>
    <a:masterClrMapping/>
  </p:clrMapOvr>
  <p:transition spd="slow">
    <p:push dir="u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3E887E9-70C3-2C1B-C969-ABFB059B6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Banned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598DB78-18BC-F107-0C53-8A7DCF7A0B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8263" y="1666628"/>
            <a:ext cx="8795473" cy="3607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960597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343608"/>
            <a:ext cx="5232000" cy="5082392"/>
          </a:xfrm>
        </p:spPr>
        <p:txBody>
          <a:bodyPr/>
          <a:lstStyle/>
          <a:p>
            <a:pPr lvl="0" indent="-676275">
              <a:spcBef>
                <a:spcPts val="0"/>
              </a:spcBef>
              <a:buSzPts val="3140"/>
              <a:buFont typeface="Arial"/>
              <a:buAutoNum type="arabicPeriod"/>
            </a:pPr>
            <a:r>
              <a:rPr lang="en-US" dirty="0"/>
              <a:t>Google Drive functions and database design as follow</a:t>
            </a:r>
          </a:p>
          <a:p>
            <a:pPr lvl="1"/>
            <a:endParaRPr lang="en-GB" dirty="0"/>
          </a:p>
          <a:p>
            <a:pPr lvl="0" indent="-676275">
              <a:buSzPts val="3140"/>
              <a:buFont typeface="Arial"/>
              <a:buAutoNum type="arabicPeriod"/>
            </a:pPr>
            <a:r>
              <a:rPr lang="en-GB" dirty="0" err="1"/>
              <a:t>Fulltext</a:t>
            </a:r>
            <a:r>
              <a:rPr lang="en-GB" dirty="0"/>
              <a:t> Search with BM25</a:t>
            </a:r>
          </a:p>
          <a:p>
            <a:pPr lvl="0" indent="-676275">
              <a:buSzPts val="3140"/>
              <a:buFont typeface="Arial"/>
              <a:buAutoNum type="arabicPeriod"/>
            </a:pPr>
            <a:endParaRPr lang="en-GB" dirty="0"/>
          </a:p>
          <a:p>
            <a:pPr lvl="0" indent="-676275">
              <a:buSzPts val="3140"/>
              <a:buFont typeface="Arial"/>
              <a:buAutoNum type="arabicPeriod"/>
            </a:pPr>
            <a:r>
              <a:rPr lang="en-GB" dirty="0"/>
              <a:t>Q&amp;A</a:t>
            </a:r>
          </a:p>
          <a:p>
            <a:pPr lvl="1"/>
            <a:endParaRPr lang="en-GB" dirty="0"/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  <p:transition spd="slow">
    <p:push dir="u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Google Shape;302;g344eaf56fbf_2_8"/>
          <p:cNvSpPr txBox="1">
            <a:spLocks noGrp="1"/>
          </p:cNvSpPr>
          <p:nvPr>
            <p:ph type="ctrTitle"/>
          </p:nvPr>
        </p:nvSpPr>
        <p:spPr>
          <a:xfrm>
            <a:off x="430350" y="2168500"/>
            <a:ext cx="11331300" cy="280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 dirty="0"/>
              <a:t>Resolve permission problem</a:t>
            </a:r>
            <a:endParaRPr dirty="0"/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 dirty="0"/>
              <a:t>in</a:t>
            </a:r>
            <a:endParaRPr dirty="0"/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 dirty="0"/>
              <a:t>Google Drive</a:t>
            </a:r>
            <a:endParaRPr dirty="0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" name="Google Shape;308;g36f56cd1dea_1_13"/>
          <p:cNvSpPr txBox="1">
            <a:spLocks noGrp="1"/>
          </p:cNvSpPr>
          <p:nvPr>
            <p:ph type="subTitle" idx="1"/>
          </p:nvPr>
        </p:nvSpPr>
        <p:spPr>
          <a:xfrm>
            <a:off x="432000" y="5894874"/>
            <a:ext cx="11331300" cy="369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 know what is childrent folder </a:t>
            </a:r>
            <a:endParaRPr/>
          </a:p>
        </p:txBody>
      </p:sp>
      <p:sp>
        <p:nvSpPr>
          <p:cNvPr id="309" name="Google Shape;309;g36f56cd1dea_1_13"/>
          <p:cNvSpPr txBox="1">
            <a:spLocks noGrp="1"/>
          </p:cNvSpPr>
          <p:nvPr>
            <p:ph type="ctrTitle"/>
          </p:nvPr>
        </p:nvSpPr>
        <p:spPr>
          <a:xfrm>
            <a:off x="432000" y="4679201"/>
            <a:ext cx="11331300" cy="8661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Add column path to table folder</a:t>
            </a:r>
            <a:endParaRPr dirty="0"/>
          </a:p>
        </p:txBody>
      </p:sp>
      <p:pic>
        <p:nvPicPr>
          <p:cNvPr id="310" name="Google Shape;310;g36f56cd1dea_1_1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85676" y="941502"/>
            <a:ext cx="6620648" cy="31857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E0872A-BBAE-61BA-2EAB-CEC71417F1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F84F66A-E228-4B6C-1134-1682A66180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Share</a:t>
            </a:r>
            <a:endParaRPr lang="vi-VN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D00AC6B-DC3D-8081-E64C-BC9117407B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4102" y="1098000"/>
            <a:ext cx="8403795" cy="5251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50900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3" name="Google Shape;323;p2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4660" b="4660"/>
          <a:stretch/>
        </p:blipFill>
        <p:spPr>
          <a:xfrm>
            <a:off x="1101175" y="1375675"/>
            <a:ext cx="9602475" cy="170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324" name="Google Shape;324;p2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dirty="0"/>
              <a:t>How to score in BM25 ?</a:t>
            </a:r>
            <a:endParaRPr dirty="0"/>
          </a:p>
        </p:txBody>
      </p:sp>
      <p:sp>
        <p:nvSpPr>
          <p:cNvPr id="325" name="Google Shape;325;p2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 dirty="0"/>
              <a:t>WHAT IS BM25 ?</a:t>
            </a:r>
            <a:endParaRPr dirty="0"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1" name="Google Shape;331;p3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-547" b="-913"/>
          <a:stretch/>
        </p:blipFill>
        <p:spPr>
          <a:xfrm>
            <a:off x="1762375" y="1389700"/>
            <a:ext cx="8863651" cy="2266125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1634E14-6507-B285-ECCD-00EC3A7282F1}"/>
              </a:ext>
            </a:extLst>
          </p:cNvPr>
          <p:cNvSpPr txBox="1"/>
          <p:nvPr/>
        </p:nvSpPr>
        <p:spPr>
          <a:xfrm>
            <a:off x="635000" y="4229100"/>
            <a:ext cx="11049000" cy="1967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2"/>
                </a:solidFill>
              </a:rPr>
              <a:t>N is total number of document</a:t>
            </a:r>
          </a:p>
          <a:p>
            <a:pPr lvl="0">
              <a:lnSpc>
                <a:spcPct val="115000"/>
              </a:lnSpc>
            </a:pPr>
            <a:r>
              <a:rPr lang="en-US" sz="2800" dirty="0">
                <a:solidFill>
                  <a:schemeClr val="bg2"/>
                </a:solidFill>
              </a:rPr>
              <a:t>n(qi) is the number of documents containing qi </a:t>
            </a:r>
            <a:r>
              <a:rPr lang="en-US" sz="2800" dirty="0" err="1">
                <a:solidFill>
                  <a:schemeClr val="bg2"/>
                </a:solidFill>
              </a:rPr>
              <a:t>a.k.a</a:t>
            </a:r>
            <a:r>
              <a:rPr lang="en-US" sz="2800" dirty="0">
                <a:solidFill>
                  <a:schemeClr val="bg2"/>
                </a:solidFill>
              </a:rPr>
              <a:t> </a:t>
            </a:r>
            <a:r>
              <a:rPr lang="en-US" sz="2800" dirty="0" err="1">
                <a:solidFill>
                  <a:schemeClr val="bg2"/>
                </a:solidFill>
              </a:rPr>
              <a:t>df</a:t>
            </a:r>
            <a:endParaRPr lang="en-US" sz="2800" dirty="0">
              <a:solidFill>
                <a:schemeClr val="bg2"/>
              </a:solidFill>
            </a:endParaRPr>
          </a:p>
          <a:p>
            <a:pPr lvl="0">
              <a:lnSpc>
                <a:spcPct val="115000"/>
              </a:lnSpc>
            </a:pPr>
            <a:r>
              <a:rPr lang="en-US" sz="2800" dirty="0">
                <a:solidFill>
                  <a:schemeClr val="bg2"/>
                </a:solidFill>
              </a:rPr>
              <a:t>|D| : Length of document</a:t>
            </a:r>
          </a:p>
          <a:p>
            <a:pPr lvl="0">
              <a:lnSpc>
                <a:spcPct val="115000"/>
              </a:lnSpc>
            </a:pPr>
            <a:r>
              <a:rPr lang="en-US" sz="2800" dirty="0" err="1">
                <a:solidFill>
                  <a:schemeClr val="bg2"/>
                </a:solidFill>
              </a:rPr>
              <a:t>avgdl</a:t>
            </a:r>
            <a:r>
              <a:rPr lang="en-US" sz="2800" dirty="0">
                <a:solidFill>
                  <a:schemeClr val="bg2"/>
                </a:solidFill>
              </a:rPr>
              <a:t> : Average document length in the collection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1" name="Google Shape;331;p3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-547" b="-913"/>
          <a:stretch/>
        </p:blipFill>
        <p:spPr>
          <a:xfrm>
            <a:off x="1762375" y="1389700"/>
            <a:ext cx="8863651" cy="2266125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1634E14-6507-B285-ECCD-00EC3A7282F1}"/>
              </a:ext>
            </a:extLst>
          </p:cNvPr>
          <p:cNvSpPr txBox="1"/>
          <p:nvPr/>
        </p:nvSpPr>
        <p:spPr>
          <a:xfrm>
            <a:off x="635000" y="4229100"/>
            <a:ext cx="11049000" cy="1967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2"/>
                </a:solidFill>
              </a:rPr>
              <a:t>N is total number of document</a:t>
            </a:r>
          </a:p>
          <a:p>
            <a:pPr lvl="0">
              <a:lnSpc>
                <a:spcPct val="115000"/>
              </a:lnSpc>
            </a:pPr>
            <a:r>
              <a:rPr lang="en-US" sz="2800" dirty="0">
                <a:solidFill>
                  <a:schemeClr val="bg2"/>
                </a:solidFill>
              </a:rPr>
              <a:t>n(qi) is the number of documents containing qi </a:t>
            </a:r>
            <a:r>
              <a:rPr lang="en-US" sz="2800" dirty="0" err="1">
                <a:solidFill>
                  <a:schemeClr val="bg2"/>
                </a:solidFill>
              </a:rPr>
              <a:t>a.k.a</a:t>
            </a:r>
            <a:r>
              <a:rPr lang="en-US" sz="2800" dirty="0">
                <a:solidFill>
                  <a:schemeClr val="bg2"/>
                </a:solidFill>
              </a:rPr>
              <a:t> </a:t>
            </a:r>
            <a:r>
              <a:rPr lang="en-US" sz="2800" dirty="0" err="1">
                <a:solidFill>
                  <a:schemeClr val="bg2"/>
                </a:solidFill>
              </a:rPr>
              <a:t>df</a:t>
            </a:r>
            <a:endParaRPr lang="en-US" sz="2800" dirty="0">
              <a:solidFill>
                <a:schemeClr val="bg2"/>
              </a:solidFill>
            </a:endParaRPr>
          </a:p>
          <a:p>
            <a:pPr lvl="0">
              <a:lnSpc>
                <a:spcPct val="115000"/>
              </a:lnSpc>
            </a:pPr>
            <a:r>
              <a:rPr lang="en-US" sz="2800" dirty="0">
                <a:solidFill>
                  <a:schemeClr val="bg2"/>
                </a:solidFill>
              </a:rPr>
              <a:t>|D| : Length of document</a:t>
            </a:r>
          </a:p>
          <a:p>
            <a:pPr lvl="0">
              <a:lnSpc>
                <a:spcPct val="115000"/>
              </a:lnSpc>
            </a:pPr>
            <a:r>
              <a:rPr lang="en-US" sz="2800" dirty="0" err="1">
                <a:solidFill>
                  <a:schemeClr val="bg2"/>
                </a:solidFill>
              </a:rPr>
              <a:t>avgdl</a:t>
            </a:r>
            <a:r>
              <a:rPr lang="en-US" sz="2800" dirty="0">
                <a:solidFill>
                  <a:schemeClr val="bg2"/>
                </a:solidFill>
              </a:rPr>
              <a:t> : Average document length in the collection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7B6AF0C-0137-3780-F446-858BE06BD587}"/>
              </a:ext>
            </a:extLst>
          </p:cNvPr>
          <p:cNvSpPr txBox="1"/>
          <p:nvPr/>
        </p:nvSpPr>
        <p:spPr>
          <a:xfrm>
            <a:off x="406400" y="1866900"/>
            <a:ext cx="11379200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buSzPts val="2400"/>
            </a:pPr>
            <a:r>
              <a:rPr lang="en-US" sz="3000" b="1" dirty="0">
                <a:solidFill>
                  <a:schemeClr val="bg2"/>
                </a:solidFill>
              </a:rPr>
              <a:t>k_1</a:t>
            </a:r>
            <a:r>
              <a:rPr lang="en-US" sz="3000" dirty="0">
                <a:solidFill>
                  <a:schemeClr val="bg2"/>
                </a:solidFill>
              </a:rPr>
              <a:t>: A parameter (typically 1.2 to 2.0) controlling the impact of term frequency. Higher values allow more influence from frequent terms.</a:t>
            </a:r>
          </a:p>
          <a:p>
            <a:pPr lvl="0">
              <a:buSzPts val="2400"/>
            </a:pPr>
            <a:r>
              <a:rPr lang="en-US" sz="3000" b="1" dirty="0">
                <a:solidFill>
                  <a:schemeClr val="bg2"/>
                </a:solidFill>
              </a:rPr>
              <a:t>b</a:t>
            </a:r>
            <a:r>
              <a:rPr lang="en-US" sz="3000" dirty="0">
                <a:solidFill>
                  <a:schemeClr val="bg2"/>
                </a:solidFill>
              </a:rPr>
              <a:t>: A parameter (typically 0.75) controlling the effect of document length normalization. b=0 disables length normalization, while fully normalizes by document length.</a:t>
            </a:r>
          </a:p>
          <a:p>
            <a:endParaRPr lang="en-US" sz="3000" dirty="0">
              <a:solidFill>
                <a:schemeClr val="bg2"/>
              </a:solidFill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p5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HOW IT WORKS ? </a:t>
            </a:r>
            <a:endParaRPr/>
          </a:p>
        </p:txBody>
      </p:sp>
      <p:pic>
        <p:nvPicPr>
          <p:cNvPr id="342" name="Google Shape;342;p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308050" y="859400"/>
            <a:ext cx="5480550" cy="319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Google Shape;348;p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dirty="0"/>
              <a:t>Sample Data</a:t>
            </a:r>
            <a:endParaRPr dirty="0"/>
          </a:p>
        </p:txBody>
      </p:sp>
      <p:pic>
        <p:nvPicPr>
          <p:cNvPr id="349" name="Google Shape;349;p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56785" y="1734007"/>
            <a:ext cx="8461226" cy="1203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" name="Google Shape;350;p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56785" y="4124125"/>
            <a:ext cx="8461225" cy="1333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" name="Google Shape;356;g36f56cd1dea_0_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=3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(qi)=df(documentfrequency)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7" name="Google Shape;357;g36f56cd1dea_0_4"/>
          <p:cNvSpPr txBox="1">
            <a:spLocks noGrp="1"/>
          </p:cNvSpPr>
          <p:nvPr>
            <p:ph type="title"/>
          </p:nvPr>
        </p:nvSpPr>
        <p:spPr>
          <a:xfrm>
            <a:off x="548449" y="232925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 sz="2700"/>
              <a:t>Caculate IDF ( InverseIndexFrequency)</a:t>
            </a:r>
            <a:endParaRPr sz="27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58" name="Google Shape;358;g36f56cd1dea_0_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566875" y="1852613"/>
            <a:ext cx="5067300" cy="3152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9" name="Google Shape;359;g36f56cd1dea_0_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814525" y="5131913"/>
            <a:ext cx="4572000" cy="9239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A109439-6887-98AE-3704-BA025A100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726" y="-170777"/>
            <a:ext cx="9720000" cy="1098000"/>
          </a:xfrm>
        </p:spPr>
        <p:txBody>
          <a:bodyPr/>
          <a:lstStyle/>
          <a:p>
            <a:r>
              <a:rPr lang="en-US" dirty="0"/>
              <a:t>First Screen 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DA1F64-B69F-31BD-F59C-9B9C722201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6117" y="1024470"/>
            <a:ext cx="9887817" cy="502128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F45CC15-7EA6-FFD1-B04C-6365D8A4BD79}"/>
              </a:ext>
            </a:extLst>
          </p:cNvPr>
          <p:cNvSpPr/>
          <p:nvPr/>
        </p:nvSpPr>
        <p:spPr>
          <a:xfrm>
            <a:off x="7706550" y="1357480"/>
            <a:ext cx="109542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etting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33A823E-3500-CBD7-1673-F49C1647A979}"/>
              </a:ext>
            </a:extLst>
          </p:cNvPr>
          <p:cNvSpPr/>
          <p:nvPr/>
        </p:nvSpPr>
        <p:spPr>
          <a:xfrm>
            <a:off x="2708989" y="1866638"/>
            <a:ext cx="109542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Folder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77AEE36-AF37-CA01-6E7F-6A3DA26A95DC}"/>
              </a:ext>
            </a:extLst>
          </p:cNvPr>
          <p:cNvSpPr/>
          <p:nvPr/>
        </p:nvSpPr>
        <p:spPr>
          <a:xfrm>
            <a:off x="7667555" y="2909643"/>
            <a:ext cx="1726967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ActionRecent</a:t>
            </a:r>
            <a:r>
              <a:rPr lang="en-US" dirty="0">
                <a:solidFill>
                  <a:schemeClr val="bg1"/>
                </a:solidFill>
              </a:rPr>
              <a:t> 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2B503D4-7A6F-6362-0BF1-E81D1ACC1FBF}"/>
              </a:ext>
            </a:extLst>
          </p:cNvPr>
          <p:cNvSpPr/>
          <p:nvPr/>
        </p:nvSpPr>
        <p:spPr>
          <a:xfrm>
            <a:off x="840351" y="4603310"/>
            <a:ext cx="109542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UserFile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3FF7840-A688-944C-1128-51D7A77EAD57}"/>
              </a:ext>
            </a:extLst>
          </p:cNvPr>
          <p:cNvSpPr/>
          <p:nvPr/>
        </p:nvSpPr>
        <p:spPr>
          <a:xfrm>
            <a:off x="8935297" y="1796280"/>
            <a:ext cx="109542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Account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F0F02C1-FF60-F0CE-90F4-46827AEBBCC7}"/>
              </a:ext>
            </a:extLst>
          </p:cNvPr>
          <p:cNvCxnSpPr>
            <a:cxnSpLocks/>
          </p:cNvCxnSpPr>
          <p:nvPr/>
        </p:nvCxnSpPr>
        <p:spPr>
          <a:xfrm flipV="1">
            <a:off x="9774553" y="1232116"/>
            <a:ext cx="715398" cy="4993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5FFB96D4-D52C-A654-FBD8-6E820853D4FE}"/>
              </a:ext>
            </a:extLst>
          </p:cNvPr>
          <p:cNvCxnSpPr/>
          <p:nvPr/>
        </p:nvCxnSpPr>
        <p:spPr>
          <a:xfrm>
            <a:off x="7518125" y="2356364"/>
            <a:ext cx="806245" cy="396668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D4CF437-2877-15A2-5896-8EE57B97DA2D}"/>
              </a:ext>
            </a:extLst>
          </p:cNvPr>
          <p:cNvCxnSpPr>
            <a:cxnSpLocks/>
          </p:cNvCxnSpPr>
          <p:nvPr/>
        </p:nvCxnSpPr>
        <p:spPr>
          <a:xfrm flipV="1">
            <a:off x="8884533" y="1215550"/>
            <a:ext cx="1196955" cy="283859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AE871E83-CF51-A128-453B-3D09D5FA2B0F}"/>
              </a:ext>
            </a:extLst>
          </p:cNvPr>
          <p:cNvCxnSpPr/>
          <p:nvPr/>
        </p:nvCxnSpPr>
        <p:spPr>
          <a:xfrm flipV="1">
            <a:off x="2063578" y="3954162"/>
            <a:ext cx="1383957" cy="86497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6A3DC31-DE78-287E-CD7C-B26E8936F5FC}"/>
              </a:ext>
            </a:extLst>
          </p:cNvPr>
          <p:cNvCxnSpPr/>
          <p:nvPr/>
        </p:nvCxnSpPr>
        <p:spPr>
          <a:xfrm>
            <a:off x="3804418" y="2208191"/>
            <a:ext cx="458663" cy="346507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2873326"/>
      </p:ext>
    </p:extLst>
  </p:cSld>
  <p:clrMapOvr>
    <a:masterClrMapping/>
  </p:clrMapOvr>
  <p:transition spd="slow">
    <p:push dir="u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Google Shape;365;g36f56cd1dea_0_11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Tf = ApperanceCount / |D|</a:t>
            </a:r>
            <a:endParaRPr/>
          </a:p>
        </p:txBody>
      </p:sp>
      <p:sp>
        <p:nvSpPr>
          <p:cNvPr id="366" name="Google Shape;366;g36f56cd1dea_0_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F (TermFrequency)</a:t>
            </a:r>
            <a:endParaRPr/>
          </a:p>
        </p:txBody>
      </p:sp>
      <p:pic>
        <p:nvPicPr>
          <p:cNvPr id="367" name="Google Shape;367;g36f56cd1dea_0_1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773588" y="1420763"/>
            <a:ext cx="8086725" cy="43529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Google Shape;373;g36f56cd1dea_0_18"/>
          <p:cNvSpPr txBox="1">
            <a:spLocks noGrp="1"/>
          </p:cNvSpPr>
          <p:nvPr>
            <p:ph type="body" idx="1"/>
          </p:nvPr>
        </p:nvSpPr>
        <p:spPr>
          <a:xfrm>
            <a:off x="432000" y="11677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k1=1.2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b=0.75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avgdl=5.67</a:t>
            </a:r>
            <a:endParaRPr/>
          </a:p>
        </p:txBody>
      </p:sp>
      <p:sp>
        <p:nvSpPr>
          <p:cNvPr id="374" name="Google Shape;374;g36f56cd1dea_0_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tal Score</a:t>
            </a:r>
            <a:endParaRPr/>
          </a:p>
        </p:txBody>
      </p:sp>
      <p:pic>
        <p:nvPicPr>
          <p:cNvPr id="375" name="Google Shape;375;g36f56cd1dea_0_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45588" y="3928100"/>
            <a:ext cx="10700826" cy="16540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76" name="Google Shape;376;g36f56cd1dea_0_1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122323" y="1872338"/>
            <a:ext cx="8324076" cy="13461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22272B6-7E7A-589C-283F-FC82991F16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tructure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944F9D-3361-8A27-383E-5F3535EBD0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198" y="1112406"/>
            <a:ext cx="10851604" cy="5103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563286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7AA25AE-9DD3-A8D2-6D9F-7E43C4DC2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5D674D4-EB38-8DC1-5BDD-406795FF75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6417" y="1241360"/>
            <a:ext cx="10659166" cy="501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06294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FF4939C-AA73-BD16-296A-A120BDF533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tructure </a:t>
            </a:r>
            <a:endParaRPr lang="vi-V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080241-635B-A43B-737C-15CDF60F41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3615" y="1098000"/>
            <a:ext cx="9124769" cy="5453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416891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131E732-4B9B-8501-B4BB-C26D3432C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y drive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51DB79C-CC3F-1491-33BC-32D87EE533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142" y="945208"/>
            <a:ext cx="10327714" cy="544243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4D5DBE0-7676-37E2-EA47-8C08CA597672}"/>
              </a:ext>
            </a:extLst>
          </p:cNvPr>
          <p:cNvSpPr/>
          <p:nvPr/>
        </p:nvSpPr>
        <p:spPr>
          <a:xfrm>
            <a:off x="512461" y="4740724"/>
            <a:ext cx="1829295" cy="1098000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lect File/folder where user login is owner</a:t>
            </a:r>
          </a:p>
        </p:txBody>
      </p:sp>
      <p:sp>
        <p:nvSpPr>
          <p:cNvPr id="13" name="Frame 12">
            <a:extLst>
              <a:ext uri="{FF2B5EF4-FFF2-40B4-BE49-F238E27FC236}">
                <a16:creationId xmlns:a16="http://schemas.microsoft.com/office/drawing/2014/main" id="{608A03F9-6FF8-16B7-5FAB-FE9EC4E34816}"/>
              </a:ext>
            </a:extLst>
          </p:cNvPr>
          <p:cNvSpPr/>
          <p:nvPr/>
        </p:nvSpPr>
        <p:spPr>
          <a:xfrm>
            <a:off x="2417746" y="2407142"/>
            <a:ext cx="8918100" cy="512219"/>
          </a:xfrm>
          <a:prstGeom prst="fram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4" name="Frame 13">
            <a:extLst>
              <a:ext uri="{FF2B5EF4-FFF2-40B4-BE49-F238E27FC236}">
                <a16:creationId xmlns:a16="http://schemas.microsoft.com/office/drawing/2014/main" id="{6AB874E8-265E-69B6-F587-2BE77CA8BF34}"/>
              </a:ext>
            </a:extLst>
          </p:cNvPr>
          <p:cNvSpPr/>
          <p:nvPr/>
        </p:nvSpPr>
        <p:spPr>
          <a:xfrm>
            <a:off x="2417746" y="3347512"/>
            <a:ext cx="8918100" cy="517057"/>
          </a:xfrm>
          <a:prstGeom prst="fram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61F9B9-AA35-08FA-E371-515FF6607D85}"/>
              </a:ext>
            </a:extLst>
          </p:cNvPr>
          <p:cNvSpPr/>
          <p:nvPr/>
        </p:nvSpPr>
        <p:spPr>
          <a:xfrm>
            <a:off x="6079851" y="1383450"/>
            <a:ext cx="1193181" cy="423146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Get folder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F91C7E3-DDDD-E6EF-5956-43F0A01833D6}"/>
              </a:ext>
            </a:extLst>
          </p:cNvPr>
          <p:cNvSpPr/>
          <p:nvPr/>
        </p:nvSpPr>
        <p:spPr>
          <a:xfrm>
            <a:off x="8162121" y="1298506"/>
            <a:ext cx="929269" cy="423146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Get file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F56EB60-852C-DA01-EB50-4EC675D7CD16}"/>
              </a:ext>
            </a:extLst>
          </p:cNvPr>
          <p:cNvCxnSpPr/>
          <p:nvPr/>
        </p:nvCxnSpPr>
        <p:spPr>
          <a:xfrm flipH="1">
            <a:off x="6095999" y="1828800"/>
            <a:ext cx="282499" cy="401445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4233713-053F-067D-6053-121560520D4D}"/>
              </a:ext>
            </a:extLst>
          </p:cNvPr>
          <p:cNvCxnSpPr>
            <a:cxnSpLocks/>
          </p:cNvCxnSpPr>
          <p:nvPr/>
        </p:nvCxnSpPr>
        <p:spPr>
          <a:xfrm flipH="1">
            <a:off x="7864102" y="1721652"/>
            <a:ext cx="465859" cy="1625860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5717019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8D0496E-96D9-C8F6-C463-3E957282B0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ecomment</a:t>
            </a:r>
            <a:r>
              <a:rPr lang="en-US" dirty="0"/>
              <a:t> file/folder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2994B5F-166E-3BB4-4E42-D1EEBD2AE4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343" y="982064"/>
            <a:ext cx="10211314" cy="5875936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8BEE134-F2C8-A0CA-44F1-22B3594D82A2}"/>
              </a:ext>
            </a:extLst>
          </p:cNvPr>
          <p:cNvCxnSpPr/>
          <p:nvPr/>
        </p:nvCxnSpPr>
        <p:spPr>
          <a:xfrm>
            <a:off x="1081668" y="2531327"/>
            <a:ext cx="1148576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54ABBBE-DCFE-2977-BE2F-2C2638811144}"/>
              </a:ext>
            </a:extLst>
          </p:cNvPr>
          <p:cNvCxnSpPr/>
          <p:nvPr/>
        </p:nvCxnSpPr>
        <p:spPr>
          <a:xfrm>
            <a:off x="1159727" y="3429000"/>
            <a:ext cx="880274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069370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09F1EDD-32B4-DED3-79B2-DB70B5E7D4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ount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1449B85-42DF-4A0D-A8CA-1AA07F52D5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9505" y="1031474"/>
            <a:ext cx="6792990" cy="4795052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ED92F943-DF67-E764-FB61-4B005E1E3DB3}"/>
                  </a:ext>
                </a:extLst>
              </p14:cNvPr>
              <p14:cNvContentPartPr/>
              <p14:nvPr/>
            </p14:nvContentPartPr>
            <p14:xfrm>
              <a:off x="-1072103" y="2821773"/>
              <a:ext cx="360" cy="360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ED92F943-DF67-E764-FB61-4B005E1E3DB3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1078223" y="2815653"/>
                <a:ext cx="126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10" name="Frame 9">
            <a:extLst>
              <a:ext uri="{FF2B5EF4-FFF2-40B4-BE49-F238E27FC236}">
                <a16:creationId xmlns:a16="http://schemas.microsoft.com/office/drawing/2014/main" id="{41DB58E0-91C1-D534-444D-79057C0C357C}"/>
              </a:ext>
            </a:extLst>
          </p:cNvPr>
          <p:cNvSpPr/>
          <p:nvPr/>
        </p:nvSpPr>
        <p:spPr>
          <a:xfrm>
            <a:off x="4375355" y="2172929"/>
            <a:ext cx="3313471" cy="530942"/>
          </a:xfrm>
          <a:prstGeom prst="frame">
            <a:avLst/>
          </a:prstGeom>
          <a:solidFill>
            <a:srgbClr val="005194"/>
          </a:solidFill>
          <a:ln>
            <a:solidFill>
              <a:srgbClr val="005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1" name="Frame 10">
            <a:extLst>
              <a:ext uri="{FF2B5EF4-FFF2-40B4-BE49-F238E27FC236}">
                <a16:creationId xmlns:a16="http://schemas.microsoft.com/office/drawing/2014/main" id="{C0A718B5-F1B3-3855-26E0-602EDB023B4C}"/>
              </a:ext>
            </a:extLst>
          </p:cNvPr>
          <p:cNvSpPr/>
          <p:nvPr/>
        </p:nvSpPr>
        <p:spPr>
          <a:xfrm>
            <a:off x="4542503" y="4336026"/>
            <a:ext cx="3028336" cy="530942"/>
          </a:xfrm>
          <a:prstGeom prst="frame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D76B6F7-466E-54FA-EE18-409DA4C02C08}"/>
              </a:ext>
            </a:extLst>
          </p:cNvPr>
          <p:cNvSpPr/>
          <p:nvPr/>
        </p:nvSpPr>
        <p:spPr>
          <a:xfrm>
            <a:off x="2040001" y="3055649"/>
            <a:ext cx="1622323" cy="462116"/>
          </a:xfrm>
          <a:prstGeom prst="rect">
            <a:avLst/>
          </a:prstGeom>
          <a:solidFill>
            <a:srgbClr val="005194"/>
          </a:solidFill>
          <a:ln>
            <a:solidFill>
              <a:srgbClr val="005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dirty="0" err="1"/>
              <a:t>UserAvatar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3FE4099-99B4-EEC6-0198-8B261635AA08}"/>
              </a:ext>
            </a:extLst>
          </p:cNvPr>
          <p:cNvSpPr/>
          <p:nvPr/>
        </p:nvSpPr>
        <p:spPr>
          <a:xfrm>
            <a:off x="3941992" y="1115158"/>
            <a:ext cx="1622323" cy="462116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Email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F9E9687-7A4C-113E-6D04-8EEC903F0C7E}"/>
              </a:ext>
            </a:extLst>
          </p:cNvPr>
          <p:cNvSpPr/>
          <p:nvPr/>
        </p:nvSpPr>
        <p:spPr>
          <a:xfrm>
            <a:off x="7870172" y="2822133"/>
            <a:ext cx="1622323" cy="462116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dirty="0" err="1"/>
              <a:t>UserName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D8F58FF-F70B-800C-3006-8CB6A3E34F38}"/>
              </a:ext>
            </a:extLst>
          </p:cNvPr>
          <p:cNvCxnSpPr/>
          <p:nvPr/>
        </p:nvCxnSpPr>
        <p:spPr>
          <a:xfrm>
            <a:off x="3662324" y="3284249"/>
            <a:ext cx="1627431" cy="144751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7555831F-2DAA-BE58-F365-127B1661710C}"/>
              </a:ext>
            </a:extLst>
          </p:cNvPr>
          <p:cNvCxnSpPr>
            <a:cxnSpLocks/>
          </p:cNvCxnSpPr>
          <p:nvPr/>
        </p:nvCxnSpPr>
        <p:spPr>
          <a:xfrm>
            <a:off x="4375355" y="1577274"/>
            <a:ext cx="443780" cy="595655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445C3381-4F98-6094-CEBD-D11C0FBD5E38}"/>
              </a:ext>
            </a:extLst>
          </p:cNvPr>
          <p:cNvCxnSpPr/>
          <p:nvPr/>
        </p:nvCxnSpPr>
        <p:spPr>
          <a:xfrm flipH="1">
            <a:off x="7295535" y="3055649"/>
            <a:ext cx="574637" cy="1211551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0080990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1013</TotalTime>
  <Words>2089</Words>
  <Application>Microsoft Office PowerPoint</Application>
  <PresentationFormat>Widescreen</PresentationFormat>
  <Paragraphs>409</Paragraphs>
  <Slides>42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6" baseType="lpstr">
      <vt:lpstr>Arial</vt:lpstr>
      <vt:lpstr>Calibri</vt:lpstr>
      <vt:lpstr>bbv template EN</vt:lpstr>
      <vt:lpstr>think-cell Slide</vt:lpstr>
      <vt:lpstr>PowerPoint Presentation</vt:lpstr>
      <vt:lpstr>Ypp 4</vt:lpstr>
      <vt:lpstr>Agenda</vt:lpstr>
      <vt:lpstr>First Screen </vt:lpstr>
      <vt:lpstr>Sample Data </vt:lpstr>
      <vt:lpstr>Data Structure </vt:lpstr>
      <vt:lpstr>My drive</vt:lpstr>
      <vt:lpstr>Recomment file/folder</vt:lpstr>
      <vt:lpstr>Account</vt:lpstr>
      <vt:lpstr>Setting</vt:lpstr>
      <vt:lpstr>Data Structure</vt:lpstr>
      <vt:lpstr>Setting Sample Data</vt:lpstr>
      <vt:lpstr>Share for login user </vt:lpstr>
      <vt:lpstr>Share</vt:lpstr>
      <vt:lpstr>Data Structure</vt:lpstr>
      <vt:lpstr>Sample Data Share</vt:lpstr>
      <vt:lpstr>Recent Action</vt:lpstr>
      <vt:lpstr>Sample Data ActionRecent</vt:lpstr>
      <vt:lpstr>FavoriteObject</vt:lpstr>
      <vt:lpstr>Sample Data FavoriteObject</vt:lpstr>
      <vt:lpstr>Trash </vt:lpstr>
      <vt:lpstr>Data Structure</vt:lpstr>
      <vt:lpstr>Sample Data Trash</vt:lpstr>
      <vt:lpstr>UserCapacity</vt:lpstr>
      <vt:lpstr>UserProduct</vt:lpstr>
      <vt:lpstr>Data Structure</vt:lpstr>
      <vt:lpstr>Sample Data Product</vt:lpstr>
      <vt:lpstr>Banned</vt:lpstr>
      <vt:lpstr>Sample Data Banned</vt:lpstr>
      <vt:lpstr>Resolve permission problem in Google Drive</vt:lpstr>
      <vt:lpstr>Add column path to table folder</vt:lpstr>
      <vt:lpstr>Sample Data Share</vt:lpstr>
      <vt:lpstr>WHAT IS BM25 ?</vt:lpstr>
      <vt:lpstr>PowerPoint Presentation</vt:lpstr>
      <vt:lpstr>PowerPoint Presentation</vt:lpstr>
      <vt:lpstr>PowerPoint Presentation</vt:lpstr>
      <vt:lpstr>HOW IT WORKS ? </vt:lpstr>
      <vt:lpstr>Sample Data</vt:lpstr>
      <vt:lpstr>Caculate IDF ( InverseIndexFrequency) </vt:lpstr>
      <vt:lpstr>TF (TermFrequency)</vt:lpstr>
      <vt:lpstr>Total Score</vt:lpstr>
      <vt:lpstr>Data Structur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Khiem Bui Duc</cp:lastModifiedBy>
  <cp:revision>20</cp:revision>
  <dcterms:created xsi:type="dcterms:W3CDTF">2025-07-10T03:51:23Z</dcterms:created>
  <dcterms:modified xsi:type="dcterms:W3CDTF">2025-08-13T15:59:03Z</dcterms:modified>
</cp:coreProperties>
</file>